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73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34808271" r:id="rId15"/>
    <p:sldId id="2147482341" r:id="rId16"/>
    <p:sldId id="2134808273" r:id="rId17"/>
    <p:sldId id="2134808905" r:id="rId18"/>
    <p:sldId id="2147482342" r:id="rId19"/>
    <p:sldId id="2134808870" r:id="rId20"/>
    <p:sldId id="2134808951" r:id="rId21"/>
    <p:sldId id="2134808846" r:id="rId22"/>
    <p:sldId id="2134808852" r:id="rId23"/>
    <p:sldId id="2134808851" r:id="rId24"/>
    <p:sldId id="2134808949" r:id="rId25"/>
    <p:sldId id="2134806216" r:id="rId26"/>
    <p:sldId id="2134808933" r:id="rId27"/>
    <p:sldId id="2134808839" r:id="rId28"/>
    <p:sldId id="2134808935" r:id="rId29"/>
    <p:sldId id="2147482350" r:id="rId30"/>
    <p:sldId id="2134808862" r:id="rId31"/>
    <p:sldId id="2134808617" r:id="rId32"/>
    <p:sldId id="2147482363" r:id="rId33"/>
    <p:sldId id="2147482365" r:id="rId34"/>
    <p:sldId id="2147482367" r:id="rId35"/>
    <p:sldId id="2147482362" r:id="rId36"/>
    <p:sldId id="2147482355" r:id="rId37"/>
    <p:sldId id="2147482356" r:id="rId38"/>
    <p:sldId id="2147482368" r:id="rId39"/>
    <p:sldId id="2134808857" r:id="rId40"/>
    <p:sldId id="2134808858" r:id="rId41"/>
    <p:sldId id="2134806998" r:id="rId42"/>
    <p:sldId id="2134806247" r:id="rId43"/>
    <p:sldId id="2134808958" r:id="rId44"/>
    <p:sldId id="2134808960" r:id="rId45"/>
    <p:sldId id="2134808962" r:id="rId46"/>
    <p:sldId id="2134808964" r:id="rId47"/>
    <p:sldId id="2134808966" r:id="rId48"/>
    <p:sldId id="2134808967" r:id="rId49"/>
    <p:sldId id="2134808968" r:id="rId50"/>
    <p:sldId id="2134808969" r:id="rId51"/>
    <p:sldId id="2134808970" r:id="rId52"/>
    <p:sldId id="2134808984" r:id="rId53"/>
    <p:sldId id="2134806255" r:id="rId54"/>
    <p:sldId id="2134808971" r:id="rId55"/>
    <p:sldId id="2134808972" r:id="rId56"/>
    <p:sldId id="2134808973" r:id="rId57"/>
    <p:sldId id="2134808974" r:id="rId58"/>
    <p:sldId id="2134808975" r:id="rId59"/>
    <p:sldId id="2134808976" r:id="rId60"/>
    <p:sldId id="2134808844" r:id="rId61"/>
    <p:sldId id="2134808977" r:id="rId62"/>
    <p:sldId id="2134806115" r:id="rId63"/>
    <p:sldId id="2134808299" r:id="rId64"/>
    <p:sldId id="2134808929" r:id="rId65"/>
    <p:sldId id="2134808978" r:id="rId66"/>
    <p:sldId id="2134808979" r:id="rId67"/>
    <p:sldId id="2134808980" r:id="rId68"/>
    <p:sldId id="2134808805" r:id="rId69"/>
    <p:sldId id="2134808775" r:id="rId70"/>
    <p:sldId id="2134808474" r:id="rId71"/>
    <p:sldId id="2147482339" r:id="rId72"/>
  </p:sldIdLst>
  <p:sldSz cx="13716000" cy="10287000"/>
  <p:notesSz cx="6858000" cy="9144000"/>
  <p:embeddedFontLst>
    <p:embeddedFont>
      <p:font typeface="Cambria" panose="02040503050406030204" pitchFamily="18" charset="0"/>
      <p:regular r:id="rId74"/>
      <p:bold r:id="rId75"/>
      <p:italic r:id="rId76"/>
      <p:boldItalic r:id="rId77"/>
    </p:embeddedFont>
    <p:embeddedFont>
      <p:font typeface="Carelia" panose="020B0604020202020204" charset="0"/>
      <p:regular r:id="rId78"/>
    </p:embeddedFont>
    <p:embeddedFont>
      <p:font typeface="Dosis" pitchFamily="2" charset="0"/>
      <p:regular r:id="rId79"/>
      <p:bold r:id="rId80"/>
    </p:embeddedFont>
    <p:embeddedFont>
      <p:font typeface="Dosis Bold" charset="0"/>
      <p:regular r:id="rId81"/>
      <p:bold r:id="rId82"/>
    </p:embeddedFont>
    <p:embeddedFont>
      <p:font typeface="KG Primary Penmanship 2" panose="020B0604020202020204" charset="0"/>
      <p:regular r:id="rId83"/>
    </p:embeddedFont>
    <p:embeddedFont>
      <p:font typeface="KG Primary Penmanship Alt" panose="020B0604020202020204" charset="0"/>
      <p:regular r:id="rId84"/>
    </p:embeddedFont>
    <p:embeddedFont>
      <p:font typeface="Montserrat" panose="00000500000000000000" pitchFamily="2" charset="0"/>
      <p:regular r:id="rId85"/>
      <p:bold r:id="rId86"/>
      <p:italic r:id="rId87"/>
      <p:boldItalic r:id="rId88"/>
    </p:embeddedFont>
    <p:embeddedFont>
      <p:font typeface="Traditional Arabic" panose="02020603050405020304" pitchFamily="18" charset="-78"/>
      <p:regular r:id="rId89"/>
      <p:bold r:id="rId90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B800"/>
    <a:srgbClr val="7DBE00"/>
    <a:srgbClr val="67803F"/>
    <a:srgbClr val="F2F2F2"/>
    <a:srgbClr val="7F7F7F"/>
    <a:srgbClr val="106584"/>
    <a:srgbClr val="FDEADA"/>
    <a:srgbClr val="FFFFFF"/>
    <a:srgbClr val="F7F1BD"/>
    <a:srgbClr val="106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10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411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11.fntdata"/><Relationship Id="rId89" Type="http://schemas.openxmlformats.org/officeDocument/2006/relationships/font" Target="fonts/font16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1.fntdata"/><Relationship Id="rId79" Type="http://schemas.openxmlformats.org/officeDocument/2006/relationships/font" Target="fonts/font6.fntdata"/><Relationship Id="rId5" Type="http://schemas.openxmlformats.org/officeDocument/2006/relationships/slide" Target="slides/slide1.xml"/><Relationship Id="rId90" Type="http://schemas.openxmlformats.org/officeDocument/2006/relationships/font" Target="fonts/font17.fntdata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font" Target="fonts/font7.fntdata"/><Relationship Id="rId85" Type="http://schemas.openxmlformats.org/officeDocument/2006/relationships/font" Target="fonts/font12.fntdata"/><Relationship Id="rId9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font" Target="fonts/font2.fntdata"/><Relationship Id="rId83" Type="http://schemas.openxmlformats.org/officeDocument/2006/relationships/font" Target="fonts/font10.fntdata"/><Relationship Id="rId88" Type="http://schemas.openxmlformats.org/officeDocument/2006/relationships/font" Target="fonts/font15.fntdata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notesMaster" Target="notesMasters/notesMaster1.xml"/><Relationship Id="rId78" Type="http://schemas.openxmlformats.org/officeDocument/2006/relationships/font" Target="fonts/font5.fntdata"/><Relationship Id="rId81" Type="http://schemas.openxmlformats.org/officeDocument/2006/relationships/font" Target="fonts/font8.fntdata"/><Relationship Id="rId86" Type="http://schemas.openxmlformats.org/officeDocument/2006/relationships/font" Target="fonts/font13.fntdata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3.fntdata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4.fntdata"/><Relationship Id="rId61" Type="http://schemas.openxmlformats.org/officeDocument/2006/relationships/slide" Target="slides/slide57.xml"/><Relationship Id="rId82" Type="http://schemas.openxmlformats.org/officeDocument/2006/relationships/font" Target="fonts/font9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3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7695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570660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36.png"/><Relationship Id="rId5" Type="http://schemas.openxmlformats.org/officeDocument/2006/relationships/tags" Target="../tags/tag112.xml"/><Relationship Id="rId10" Type="http://schemas.openxmlformats.org/officeDocument/2006/relationships/image" Target="../media/image16.svg"/><Relationship Id="rId4" Type="http://schemas.openxmlformats.org/officeDocument/2006/relationships/tags" Target="../tags/tag111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16.sv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5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5.jpeg"/><Relationship Id="rId5" Type="http://schemas.openxmlformats.org/officeDocument/2006/relationships/tags" Target="../tags/tag118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5.xml"/><Relationship Id="rId7" Type="http://schemas.openxmlformats.org/officeDocument/2006/relationships/image" Target="../media/image5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7.xml"/><Relationship Id="rId10" Type="http://schemas.openxmlformats.org/officeDocument/2006/relationships/image" Target="../media/image8.png"/><Relationship Id="rId4" Type="http://schemas.openxmlformats.org/officeDocument/2006/relationships/tags" Target="../tags/tag126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image" Target="../media/image29.svg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tags" Target="../tags/tag156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image" Target="../media/image15.png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image" Target="../media/image5.jpeg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image" Target="../media/image5.jpeg"/><Relationship Id="rId12" Type="http://schemas.openxmlformats.org/officeDocument/2006/relationships/image" Target="../media/image39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38.png"/><Relationship Id="rId5" Type="http://schemas.openxmlformats.org/officeDocument/2006/relationships/tags" Target="../tags/tag161.xml"/><Relationship Id="rId10" Type="http://schemas.openxmlformats.org/officeDocument/2006/relationships/image" Target="../media/image37.png"/><Relationship Id="rId4" Type="http://schemas.openxmlformats.org/officeDocument/2006/relationships/tags" Target="../tags/tag160.xml"/><Relationship Id="rId9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image" Target="../media/image8.png"/><Relationship Id="rId5" Type="http://schemas.openxmlformats.org/officeDocument/2006/relationships/tags" Target="../tags/tag166.xml"/><Relationship Id="rId10" Type="http://schemas.openxmlformats.org/officeDocument/2006/relationships/image" Target="../media/image7.svg"/><Relationship Id="rId4" Type="http://schemas.openxmlformats.org/officeDocument/2006/relationships/tags" Target="../tags/tag165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image" Target="../media/image29.svg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image" Target="../media/image15.png"/><Relationship Id="rId2" Type="http://schemas.openxmlformats.org/officeDocument/2006/relationships/tags" Target="../tags/tag169.xml"/><Relationship Id="rId16" Type="http://schemas.openxmlformats.org/officeDocument/2006/relationships/image" Target="../media/image42.png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image" Target="../media/image5.jpeg"/><Relationship Id="rId5" Type="http://schemas.openxmlformats.org/officeDocument/2006/relationships/tags" Target="../tags/tag172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image" Target="../media/image43.png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19.sv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image" Target="../media/image18.png"/><Relationship Id="rId5" Type="http://schemas.openxmlformats.org/officeDocument/2006/relationships/tags" Target="../tags/tag181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13" Type="http://schemas.openxmlformats.org/officeDocument/2006/relationships/image" Target="../media/image19.svg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18.png"/><Relationship Id="rId2" Type="http://schemas.openxmlformats.org/officeDocument/2006/relationships/tags" Target="../tags/tag187.xml"/><Relationship Id="rId16" Type="http://schemas.openxmlformats.org/officeDocument/2006/relationships/image" Target="../media/image45.png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90.xml"/><Relationship Id="rId15" Type="http://schemas.openxmlformats.org/officeDocument/2006/relationships/image" Target="../media/image44.png"/><Relationship Id="rId10" Type="http://schemas.openxmlformats.org/officeDocument/2006/relationships/tags" Target="../tags/tag195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98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5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image" Target="../media/image44.png"/><Relationship Id="rId5" Type="http://schemas.openxmlformats.org/officeDocument/2006/relationships/tags" Target="../tags/tag200.xml"/><Relationship Id="rId10" Type="http://schemas.openxmlformats.org/officeDocument/2006/relationships/image" Target="../media/image23.png"/><Relationship Id="rId4" Type="http://schemas.openxmlformats.org/officeDocument/2006/relationships/tags" Target="../tags/tag199.xml"/><Relationship Id="rId9" Type="http://schemas.openxmlformats.org/officeDocument/2006/relationships/image" Target="../media/image19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04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8.png"/><Relationship Id="rId5" Type="http://schemas.openxmlformats.org/officeDocument/2006/relationships/tags" Target="../tags/tag206.xml"/><Relationship Id="rId10" Type="http://schemas.openxmlformats.org/officeDocument/2006/relationships/image" Target="../media/image7.svg"/><Relationship Id="rId4" Type="http://schemas.openxmlformats.org/officeDocument/2006/relationships/tags" Target="../tags/tag205.xml"/><Relationship Id="rId9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1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image" Target="../media/image40.png"/><Relationship Id="rId2" Type="http://schemas.openxmlformats.org/officeDocument/2006/relationships/tags" Target="../tags/tag209.xml"/><Relationship Id="rId16" Type="http://schemas.openxmlformats.org/officeDocument/2006/relationships/image" Target="../media/image29.svg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image" Target="../media/image15.png"/><Relationship Id="rId10" Type="http://schemas.openxmlformats.org/officeDocument/2006/relationships/tags" Target="../tags/tag217.xml"/><Relationship Id="rId19" Type="http://schemas.openxmlformats.org/officeDocument/2006/relationships/image" Target="../media/image42.png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5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18.png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48.png"/><Relationship Id="rId2" Type="http://schemas.openxmlformats.org/officeDocument/2006/relationships/tags" Target="../tags/tag221.xml"/><Relationship Id="rId16" Type="http://schemas.openxmlformats.org/officeDocument/2006/relationships/image" Target="../media/image47.PNG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5" Type="http://schemas.openxmlformats.org/officeDocument/2006/relationships/image" Target="../media/image46.png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image" Target="../media/image19.sv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241.xml"/><Relationship Id="rId18" Type="http://schemas.openxmlformats.org/officeDocument/2006/relationships/image" Target="../media/image48.png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tags" Target="../tags/tag240.xml"/><Relationship Id="rId17" Type="http://schemas.openxmlformats.org/officeDocument/2006/relationships/image" Target="../media/image47.PNG"/><Relationship Id="rId2" Type="http://schemas.openxmlformats.org/officeDocument/2006/relationships/tags" Target="../tags/tag232.xml"/><Relationship Id="rId16" Type="http://schemas.openxmlformats.org/officeDocument/2006/relationships/image" Target="../media/image46.png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39.xml"/><Relationship Id="rId5" Type="http://schemas.openxmlformats.org/officeDocument/2006/relationships/tags" Target="../tags/tag235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38.xml"/><Relationship Id="rId19" Type="http://schemas.openxmlformats.org/officeDocument/2006/relationships/image" Target="../media/image49.png"/><Relationship Id="rId4" Type="http://schemas.openxmlformats.org/officeDocument/2006/relationships/tags" Target="../tags/tag234.xml"/><Relationship Id="rId9" Type="http://schemas.openxmlformats.org/officeDocument/2006/relationships/audio" Target="../media/media1.wav"/><Relationship Id="rId14" Type="http://schemas.openxmlformats.org/officeDocument/2006/relationships/tags" Target="../tags/tag24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tags" Target="../tags/tag245.xml"/><Relationship Id="rId7" Type="http://schemas.openxmlformats.org/officeDocument/2006/relationships/image" Target="../media/image19.sv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46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media" Target="../media/media1.wav"/><Relationship Id="rId13" Type="http://schemas.openxmlformats.org/officeDocument/2006/relationships/tags" Target="../tags/tag257.xml"/><Relationship Id="rId18" Type="http://schemas.openxmlformats.org/officeDocument/2006/relationships/image" Target="../media/image48.png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tags" Target="../tags/tag256.xml"/><Relationship Id="rId17" Type="http://schemas.openxmlformats.org/officeDocument/2006/relationships/image" Target="../media/image47.PNG"/><Relationship Id="rId2" Type="http://schemas.openxmlformats.org/officeDocument/2006/relationships/tags" Target="../tags/tag248.xml"/><Relationship Id="rId16" Type="http://schemas.openxmlformats.org/officeDocument/2006/relationships/image" Target="../media/image46.png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tags" Target="../tags/tag255.xml"/><Relationship Id="rId5" Type="http://schemas.openxmlformats.org/officeDocument/2006/relationships/tags" Target="../tags/tag25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54.xml"/><Relationship Id="rId19" Type="http://schemas.openxmlformats.org/officeDocument/2006/relationships/image" Target="../media/image49.png"/><Relationship Id="rId4" Type="http://schemas.openxmlformats.org/officeDocument/2006/relationships/tags" Target="../tags/tag250.xml"/><Relationship Id="rId9" Type="http://schemas.openxmlformats.org/officeDocument/2006/relationships/audio" Target="../media/media1.wav"/><Relationship Id="rId14" Type="http://schemas.openxmlformats.org/officeDocument/2006/relationships/tags" Target="../tags/tag25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image" Target="../media/image47.PNG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image" Target="../media/image46.png"/><Relationship Id="rId2" Type="http://schemas.openxmlformats.org/officeDocument/2006/relationships/tags" Target="../tags/tag260.xml"/><Relationship Id="rId16" Type="http://schemas.openxmlformats.org/officeDocument/2006/relationships/image" Target="../media/image19.svg"/><Relationship Id="rId20" Type="http://schemas.openxmlformats.org/officeDocument/2006/relationships/image" Target="../media/image52.png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5" Type="http://schemas.openxmlformats.org/officeDocument/2006/relationships/tags" Target="../tags/tag263.xml"/><Relationship Id="rId15" Type="http://schemas.openxmlformats.org/officeDocument/2006/relationships/image" Target="../media/image18.png"/><Relationship Id="rId10" Type="http://schemas.openxmlformats.org/officeDocument/2006/relationships/tags" Target="../tags/tag268.xml"/><Relationship Id="rId19" Type="http://schemas.openxmlformats.org/officeDocument/2006/relationships/image" Target="../media/image51.png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3.jpeg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48.png"/><Relationship Id="rId2" Type="http://schemas.openxmlformats.org/officeDocument/2006/relationships/tags" Target="../tags/tag273.xml"/><Relationship Id="rId16" Type="http://schemas.openxmlformats.org/officeDocument/2006/relationships/image" Target="../media/image46.png"/><Relationship Id="rId20" Type="http://schemas.openxmlformats.org/officeDocument/2006/relationships/image" Target="../media/image51.png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image" Target="../media/image19.svg"/><Relationship Id="rId10" Type="http://schemas.openxmlformats.org/officeDocument/2006/relationships/tags" Target="../tags/tag281.xml"/><Relationship Id="rId19" Type="http://schemas.openxmlformats.org/officeDocument/2006/relationships/image" Target="../media/image54.jpe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image" Target="../media/image1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52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47.PNG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image" Target="../media/image46.png"/><Relationship Id="rId5" Type="http://schemas.openxmlformats.org/officeDocument/2006/relationships/tags" Target="../tags/tag288.xml"/><Relationship Id="rId10" Type="http://schemas.openxmlformats.org/officeDocument/2006/relationships/image" Target="../media/image19.svg"/><Relationship Id="rId4" Type="http://schemas.openxmlformats.org/officeDocument/2006/relationships/tags" Target="../tags/tag287.xml"/><Relationship Id="rId9" Type="http://schemas.openxmlformats.org/officeDocument/2006/relationships/image" Target="../media/image18.png"/><Relationship Id="rId1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55.png"/><Relationship Id="rId3" Type="http://schemas.openxmlformats.org/officeDocument/2006/relationships/tags" Target="../tags/tag293.xml"/><Relationship Id="rId7" Type="http://schemas.openxmlformats.org/officeDocument/2006/relationships/image" Target="../media/image18.png"/><Relationship Id="rId12" Type="http://schemas.openxmlformats.org/officeDocument/2006/relationships/image" Target="../media/image54.jpeg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3.jpeg"/><Relationship Id="rId5" Type="http://schemas.openxmlformats.org/officeDocument/2006/relationships/tags" Target="../tags/tag295.xml"/><Relationship Id="rId10" Type="http://schemas.openxmlformats.org/officeDocument/2006/relationships/image" Target="../media/image48.png"/><Relationship Id="rId4" Type="http://schemas.openxmlformats.org/officeDocument/2006/relationships/tags" Target="../tags/tag294.xml"/><Relationship Id="rId9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image" Target="../media/image46.png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19.sv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image" Target="../media/image18.png"/><Relationship Id="rId5" Type="http://schemas.openxmlformats.org/officeDocument/2006/relationships/tags" Target="../tags/tag300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image" Target="../media/image5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image" Target="../media/image56.png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10.xml"/><Relationship Id="rId7" Type="http://schemas.openxmlformats.org/officeDocument/2006/relationships/image" Target="../media/image19.sv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1.xml"/><Relationship Id="rId9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14.xml"/><Relationship Id="rId7" Type="http://schemas.openxmlformats.org/officeDocument/2006/relationships/image" Target="../media/image19.svg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5.xml"/><Relationship Id="rId9" Type="http://schemas.openxmlformats.org/officeDocument/2006/relationships/image" Target="../media/image57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18.xml"/><Relationship Id="rId7" Type="http://schemas.openxmlformats.org/officeDocument/2006/relationships/image" Target="../media/image19.sv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9.xml"/><Relationship Id="rId9" Type="http://schemas.openxmlformats.org/officeDocument/2006/relationships/image" Target="../media/image58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22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11" Type="http://schemas.openxmlformats.org/officeDocument/2006/relationships/image" Target="../media/image8.png"/><Relationship Id="rId5" Type="http://schemas.openxmlformats.org/officeDocument/2006/relationships/tags" Target="../tags/tag324.xml"/><Relationship Id="rId10" Type="http://schemas.openxmlformats.org/officeDocument/2006/relationships/image" Target="../media/image7.svg"/><Relationship Id="rId4" Type="http://schemas.openxmlformats.org/officeDocument/2006/relationships/tags" Target="../tags/tag323.xml"/><Relationship Id="rId9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13" Type="http://schemas.openxmlformats.org/officeDocument/2006/relationships/image" Target="../media/image40.png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12" Type="http://schemas.openxmlformats.org/officeDocument/2006/relationships/image" Target="../media/image29.sv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image" Target="../media/image15.png"/><Relationship Id="rId5" Type="http://schemas.openxmlformats.org/officeDocument/2006/relationships/tags" Target="../tags/tag330.xml"/><Relationship Id="rId15" Type="http://schemas.openxmlformats.org/officeDocument/2006/relationships/image" Target="../media/image42.png"/><Relationship Id="rId10" Type="http://schemas.openxmlformats.org/officeDocument/2006/relationships/image" Target="../media/image5.jpeg"/><Relationship Id="rId4" Type="http://schemas.openxmlformats.org/officeDocument/2006/relationships/tags" Target="../tags/tag32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1.sv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336.xml"/><Relationship Id="rId7" Type="http://schemas.openxmlformats.org/officeDocument/2006/relationships/image" Target="../media/image19.svg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sv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59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46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image" Target="../media/image2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image" Target="../media/image2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image" Target="../media/image19.svg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12" Type="http://schemas.openxmlformats.org/officeDocument/2006/relationships/image" Target="../media/image18.png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78.xml"/><Relationship Id="rId10" Type="http://schemas.openxmlformats.org/officeDocument/2006/relationships/tags" Target="../tags/tag383.xml"/><Relationship Id="rId4" Type="http://schemas.openxmlformats.org/officeDocument/2006/relationships/tags" Target="../tags/tag377.xml"/><Relationship Id="rId9" Type="http://schemas.openxmlformats.org/officeDocument/2006/relationships/tags" Target="../tags/tag382.xml"/><Relationship Id="rId14" Type="http://schemas.openxmlformats.org/officeDocument/2006/relationships/image" Target="../media/image61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image" Target="../media/image2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11" Type="http://schemas.openxmlformats.org/officeDocument/2006/relationships/image" Target="../media/image62.png"/><Relationship Id="rId5" Type="http://schemas.openxmlformats.org/officeDocument/2006/relationships/tags" Target="../tags/tag390.xml"/><Relationship Id="rId10" Type="http://schemas.openxmlformats.org/officeDocument/2006/relationships/image" Target="../media/image32.png"/><Relationship Id="rId4" Type="http://schemas.openxmlformats.org/officeDocument/2006/relationships/tags" Target="../tags/tag389.xml"/><Relationship Id="rId9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394.xml"/><Relationship Id="rId7" Type="http://schemas.openxmlformats.org/officeDocument/2006/relationships/image" Target="../media/image19.svg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9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3.png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3.png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image" Target="../media/image64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5.png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5.png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image" Target="../media/image64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image" Target="../media/image19.svg"/><Relationship Id="rId3" Type="http://schemas.openxmlformats.org/officeDocument/2006/relationships/tags" Target="../tags/tag406.xml"/><Relationship Id="rId7" Type="http://schemas.openxmlformats.org/officeDocument/2006/relationships/tags" Target="../tags/tag408.xml"/><Relationship Id="rId12" Type="http://schemas.openxmlformats.org/officeDocument/2006/relationships/image" Target="../media/image18.pn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audio" Target="../media/media2.mp3"/><Relationship Id="rId11" Type="http://schemas.openxmlformats.org/officeDocument/2006/relationships/slideLayout" Target="../slideLayouts/slideLayout29.xml"/><Relationship Id="rId5" Type="http://schemas.microsoft.com/office/2007/relationships/media" Target="../media/media2.mp3"/><Relationship Id="rId15" Type="http://schemas.openxmlformats.org/officeDocument/2006/relationships/image" Target="../media/image49.png"/><Relationship Id="rId10" Type="http://schemas.openxmlformats.org/officeDocument/2006/relationships/tags" Target="../tags/tag411.xml"/><Relationship Id="rId4" Type="http://schemas.openxmlformats.org/officeDocument/2006/relationships/tags" Target="../tags/tag407.xml"/><Relationship Id="rId9" Type="http://schemas.openxmlformats.org/officeDocument/2006/relationships/tags" Target="../tags/tag410.xml"/><Relationship Id="rId14" Type="http://schemas.openxmlformats.org/officeDocument/2006/relationships/image" Target="../media/image66.gif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13" Type="http://schemas.openxmlformats.org/officeDocument/2006/relationships/image" Target="../media/image67.jpg"/><Relationship Id="rId18" Type="http://schemas.openxmlformats.org/officeDocument/2006/relationships/image" Target="../media/image70.png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12" Type="http://schemas.openxmlformats.org/officeDocument/2006/relationships/image" Target="../media/image19.svg"/><Relationship Id="rId17" Type="http://schemas.microsoft.com/office/2007/relationships/hdphoto" Target="../media/hdphoto1.wdp"/><Relationship Id="rId2" Type="http://schemas.openxmlformats.org/officeDocument/2006/relationships/tags" Target="../tags/tag413.xml"/><Relationship Id="rId16" Type="http://schemas.openxmlformats.org/officeDocument/2006/relationships/image" Target="../media/image69.png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image" Target="../media/image18.png"/><Relationship Id="rId5" Type="http://schemas.openxmlformats.org/officeDocument/2006/relationships/tags" Target="../tags/tag416.xml"/><Relationship Id="rId15" Type="http://schemas.openxmlformats.org/officeDocument/2006/relationships/image" Target="../media/image68.jp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image" Target="../media/image54.jpe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13" Type="http://schemas.openxmlformats.org/officeDocument/2006/relationships/image" Target="../media/image43.png"/><Relationship Id="rId3" Type="http://schemas.openxmlformats.org/officeDocument/2006/relationships/tags" Target="../tags/tag423.xml"/><Relationship Id="rId7" Type="http://schemas.openxmlformats.org/officeDocument/2006/relationships/tags" Target="../tags/tag427.xml"/><Relationship Id="rId12" Type="http://schemas.openxmlformats.org/officeDocument/2006/relationships/image" Target="../media/image19.svg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tags" Target="../tags/tag426.xml"/><Relationship Id="rId11" Type="http://schemas.openxmlformats.org/officeDocument/2006/relationships/image" Target="../media/image18.png"/><Relationship Id="rId5" Type="http://schemas.openxmlformats.org/officeDocument/2006/relationships/tags" Target="../tags/tag425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24.xml"/><Relationship Id="rId9" Type="http://schemas.openxmlformats.org/officeDocument/2006/relationships/tags" Target="../tags/tag42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30.xml"/><Relationship Id="rId6" Type="http://schemas.openxmlformats.org/officeDocument/2006/relationships/hyperlink" Target="https://docs.google.com/forms/d/e/1FAIpQLSeGbEh4eCfj0ri_aqOht0VG2q1xZDER-dmv6wFZwOP759wbuA/formResponse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2 - Séance 4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26608" y="8574280"/>
            <a:ext cx="460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2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478754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ctr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1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Vocabulaire 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oute active du dialogue</a:t>
            </a:r>
            <a:endParaRPr kumimoji="0" lang="fr-FR" sz="2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2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 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E46C0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4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5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ppropriation de l'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ture</a:t>
            </a:r>
            <a:endParaRPr kumimoji="0" lang="fr-MA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6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3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81989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2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A08482B-FEA8-B81D-619C-DFF9DE4FE4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7843" y="2946315"/>
            <a:ext cx="3787468" cy="53725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B922854-5225-0363-6EBE-0C8F99FCD4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68076" y="2954889"/>
            <a:ext cx="377984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57CCC88-1E96-530A-8FA6-51E87B3C3B5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50689" y="2954889"/>
            <a:ext cx="378746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97843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des syllabes et des mots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3021680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4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02599" y="5226493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88925" y="5131013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F7227F-C166-49B7-5CCF-50E4DE35603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8CE850F-80D8-5170-9991-58101636DEB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231E4BB-B415-AA4F-5653-F0B4155B7394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64976E0-2EF2-771C-6762-9495354083F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649BDC0-AFB0-B471-0AAE-348E3970C23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23DBB1A-2755-4FD1-EFEC-FC5B4A1B683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3BFE824E-4733-1045-6D7D-F85D4520FF1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6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D2253FE-BF29-BD45-C945-40D8264E33F7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396472CF-F39C-3031-FF9E-711346E4210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déjà vu ces mots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 est ce mot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A3EEA1E-4678-456A-0F13-C38D1EDF036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148524" y="3785248"/>
            <a:ext cx="1249946" cy="21894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78D6837-1B52-267F-DAF2-F24EF292E18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215290" y="4167316"/>
            <a:ext cx="1828309" cy="176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C51837CD-9190-45D6-A48F-E2B9AE2B1D5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094711" y="6500578"/>
            <a:ext cx="31289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glac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78021" y="6500578"/>
            <a:ext cx="36728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tomat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85A4ADF-7D4C-E161-9E33-C27D91B7C1B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48524" y="3785248"/>
            <a:ext cx="1249946" cy="218942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A4788E4-161A-011E-56BB-851AAD14188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15290" y="4167316"/>
            <a:ext cx="1828309" cy="176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629025" y="2857500"/>
            <a:ext cx="9800537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des syllabes et des mots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88321" y="4757058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4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’acte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448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Est-ce que tu as…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108966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Oui, j’ai … / Non, je n’ai pas … .</a:t>
            </a:r>
          </a:p>
          <a:p>
            <a:pPr defTabSz="914490">
              <a:defRPr/>
            </a:pPr>
            <a:endParaRPr lang="fr-FR" sz="3200" b="1" kern="100" dirty="0">
              <a:solidFill>
                <a:srgbClr val="106585"/>
              </a:solidFill>
              <a:latin typeface="Dosis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31639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45B0F165-B078-A537-C410-7264F247214E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022D0A5E-3274-BBE5-F4F8-FE549AD7113D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775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B3188FA-D6A4-5975-1022-8A3ABDEA3D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897A553-4FA8-7BA7-7B68-C0BFD705D47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AC4E15-1540-7D29-E91C-52DDA8FFACE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079BE5-3F72-27A1-550D-818E4FA03551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70443B5-2423-16FA-92B2-BE1A5F98AE41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4DD71BC0-49D1-9B5C-5E55-CAED6598B76B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4B5A14-C4E5-7E01-A897-A5FA84EF7C7C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9437528-A0CA-8F3A-0211-711428C5C439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des ciseaux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879080" y="1912466"/>
            <a:ext cx="4998721" cy="1661723"/>
          </a:xfrm>
          <a:prstGeom prst="wedgeEllipseCallout">
            <a:avLst>
              <a:gd name="adj1" fmla="val -22115"/>
              <a:gd name="adj2" fmla="val 9477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ciseaux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02188" y="3981465"/>
            <a:ext cx="3096699" cy="5238245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E2266A54-ADA3-B791-C7DC-9AB158BFF0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834" y="5761589"/>
            <a:ext cx="1547241" cy="190244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4B1F600-5E96-415C-3BD9-568A07AEEE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6864291" y="4505201"/>
            <a:ext cx="2861233" cy="428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783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Oui, j’ai des ciseaux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050752" y="1912466"/>
            <a:ext cx="3749993" cy="1661723"/>
          </a:xfrm>
          <a:prstGeom prst="wedgeEllipseCallout">
            <a:avLst>
              <a:gd name="adj1" fmla="val 13943"/>
              <a:gd name="adj2" fmla="val 7943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’a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 ciseaux 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FC0816-6568-49F2-F040-1BEE8AC5385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2659275" y="3844602"/>
            <a:ext cx="5573271" cy="5080291"/>
          </a:xfrm>
          <a:prstGeom prst="rect">
            <a:avLst/>
          </a:prstGeom>
        </p:spPr>
      </p:pic>
      <p:pic>
        <p:nvPicPr>
          <p:cNvPr id="13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06580813-7F2D-D5C1-30AF-1468B529BD83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421546" y="4759303"/>
            <a:ext cx="1405443" cy="17407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D9C8D00D-10B8-60E0-C166-2D7720198F3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738" y="6384747"/>
            <a:ext cx="1547241" cy="190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9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une gomme ?».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79080" y="1912466"/>
            <a:ext cx="4998721" cy="1661723"/>
          </a:xfrm>
          <a:prstGeom prst="wedgeEllipseCallout">
            <a:avLst>
              <a:gd name="adj1" fmla="val -22115"/>
              <a:gd name="adj2" fmla="val 9477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e gomme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02188" y="3981465"/>
            <a:ext cx="3096699" cy="5238245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90046029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748E017C-B456-6837-BBAC-6050F4D2C07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6864291" y="4505201"/>
            <a:ext cx="2861233" cy="428092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6806509-88DF-BB69-7E22-69A25E1FDDA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78440" y="6600587"/>
            <a:ext cx="1620711" cy="91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96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Non, je n’ai pas de gomme ?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7839" y="1908384"/>
            <a:ext cx="4535786" cy="1661723"/>
          </a:xfrm>
          <a:prstGeom prst="wedgeEllipseCallout">
            <a:avLst>
              <a:gd name="adj1" fmla="val 13943"/>
              <a:gd name="adj2" fmla="val 7943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n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e </a:t>
            </a:r>
            <a:r>
              <a:rPr lang="fr-FR" sz="3600" b="1" dirty="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’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i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s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gomme 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FC0816-6568-49F2-F040-1BEE8AC538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6857983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2659275" y="3844602"/>
            <a:ext cx="5573271" cy="5080291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93353769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77A5E2AC-6421-A888-0F02-FDDA8BAA4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68" t="9947" r="832"/>
          <a:stretch/>
        </p:blipFill>
        <p:spPr bwMode="auto">
          <a:xfrm>
            <a:off x="1494242" y="4984649"/>
            <a:ext cx="1260049" cy="140540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D58F4B9-828F-5D98-AD6D-4732681F53F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32358" y="6743291"/>
            <a:ext cx="1620711" cy="91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97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3F3F4-1E77-400E-55BC-D68ABE12D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8EDB6720-304A-46F9-E901-FD7443C75A9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38472" y="76207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BEF682F-71A0-F6D9-027A-850B5A85913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01401" y="596179"/>
            <a:ext cx="1227114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A retenir ! Oui, j’ai / Non, je n’ai pas. </a:t>
            </a:r>
          </a:p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Répétez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A3B3500-2948-6786-2ECD-07DC222217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9877" y="398932"/>
            <a:ext cx="1350354" cy="1490828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75D79077-4FE7-DC26-0CDA-2984C61175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867" y="3511877"/>
            <a:ext cx="9893145" cy="3903287"/>
          </a:xfrm>
          <a:prstGeom prst="roundRect">
            <a:avLst>
              <a:gd name="adj" fmla="val 118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B7D1914-2567-050E-8264-314555A556D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614917" y="3973541"/>
            <a:ext cx="4799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68">
              <a:defRPr/>
            </a:pPr>
            <a:r>
              <a:rPr lang="fr-FR" sz="5400" b="1" dirty="0">
                <a:solidFill>
                  <a:srgbClr val="FF0000"/>
                </a:solidFill>
                <a:latin typeface="Dosis" pitchFamily="2" charset="0"/>
              </a:rPr>
              <a:t>Non</a:t>
            </a:r>
            <a:r>
              <a:rPr lang="fr-FR" sz="5400" b="1" dirty="0">
                <a:solidFill>
                  <a:srgbClr val="215968"/>
                </a:solidFill>
                <a:latin typeface="Dosis" pitchFamily="2" charset="0"/>
              </a:rPr>
              <a:t>, je </a:t>
            </a:r>
            <a:r>
              <a:rPr lang="fr-FR" sz="5400" b="1" dirty="0">
                <a:solidFill>
                  <a:srgbClr val="FF0000"/>
                </a:solidFill>
                <a:latin typeface="Dosis" pitchFamily="2" charset="0"/>
              </a:rPr>
              <a:t>n</a:t>
            </a:r>
            <a:r>
              <a:rPr lang="fr-FR" sz="5400" b="1" dirty="0">
                <a:solidFill>
                  <a:srgbClr val="215968"/>
                </a:solidFill>
                <a:latin typeface="Dosis" pitchFamily="2" charset="0"/>
              </a:rPr>
              <a:t>’ai </a:t>
            </a:r>
            <a:r>
              <a:rPr lang="fr-FR" sz="5400" b="1" dirty="0">
                <a:solidFill>
                  <a:srgbClr val="FF0000"/>
                </a:solidFill>
                <a:latin typeface="Dosis" pitchFamily="2" charset="0"/>
              </a:rPr>
              <a:t>pas</a:t>
            </a:r>
            <a:r>
              <a:rPr lang="fr-FR" sz="5400" b="1" dirty="0">
                <a:solidFill>
                  <a:srgbClr val="215968"/>
                </a:solidFill>
                <a:latin typeface="Dosis" pitchFamily="2" charset="0"/>
              </a:rPr>
              <a:t>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DC7F24C-0289-4F66-8E18-4F4FFA1712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004816" y="3953664"/>
            <a:ext cx="4267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68">
              <a:defRPr/>
            </a:pPr>
            <a:r>
              <a:rPr lang="fr-FR" sz="5400" b="1" dirty="0">
                <a:solidFill>
                  <a:srgbClr val="7BB800"/>
                </a:solidFill>
                <a:latin typeface="Dosis" pitchFamily="2" charset="0"/>
              </a:rPr>
              <a:t>Oui</a:t>
            </a:r>
            <a:r>
              <a:rPr lang="fr-FR" sz="5400" b="1" dirty="0">
                <a:solidFill>
                  <a:srgbClr val="215968"/>
                </a:solidFill>
                <a:latin typeface="Dosis" pitchFamily="2" charset="0"/>
              </a:rPr>
              <a:t>, j’ai</a:t>
            </a:r>
            <a:r>
              <a:rPr lang="fr-FR" sz="5400" b="1" dirty="0">
                <a:solidFill>
                  <a:srgbClr val="7BB800"/>
                </a:solidFill>
                <a:latin typeface="Dosis" pitchFamily="2" charset="0"/>
              </a:rPr>
              <a:t> </a:t>
            </a:r>
          </a:p>
        </p:txBody>
      </p:sp>
      <p:pic>
        <p:nvPicPr>
          <p:cNvPr id="12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5977805-AAE7-E72B-D485-E0CCF5277AB6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3211641" y="5071807"/>
            <a:ext cx="1705626" cy="211252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0AC23B63-EB36-07C2-74A8-DA911ABB0BA2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68" t="9947" r="832"/>
          <a:stretch/>
        </p:blipFill>
        <p:spPr bwMode="auto">
          <a:xfrm>
            <a:off x="8062386" y="5388144"/>
            <a:ext cx="1817374" cy="20270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909E694B-636C-46EB-AC87-D4CD16557B4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3321010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86702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F626D-5665-BFE5-AD5B-CA712B3EC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787519C9-070E-3F1F-CF92-9776F8765A7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78324" y="729950"/>
            <a:ext cx="11477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vous poser des questions. Répondez par « oui, j’ai … » ou « Non, je n’ai pas … »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CB5D1B92-509A-6E5C-7DE6-990DC1DA1A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60050" y="801317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D37FA98-269E-21E4-DA04-157D87FAF857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7164" y="3465698"/>
            <a:ext cx="7054421" cy="4896073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E8DB4B6-1EFC-DCDC-3508-5DB4E736F39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00668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DF1A8-8D9F-411A-B8FB-957CA84E2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46A6DB88-7E50-A6B6-855F-F0DA387A87F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E180AEA-334F-A507-17F1-5A51FD00378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une gomme ? Montre-la-moi !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08087DE-60BC-F6F1-9784-1B9D2859245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FB6784A-668F-FC23-627E-56128942A67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3203226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996BC06-F9E5-ADFB-7858-2B2FD70561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6118" y="5166841"/>
            <a:ext cx="3183763" cy="1806174"/>
          </a:xfrm>
          <a:prstGeom prst="rect">
            <a:avLst/>
          </a:prstGeom>
        </p:spPr>
      </p:pic>
      <p:sp>
        <p:nvSpPr>
          <p:cNvPr id="7" name="ZoneTexte 5">
            <a:extLst>
              <a:ext uri="{FF2B5EF4-FFF2-40B4-BE49-F238E27FC236}">
                <a16:creationId xmlns:a16="http://schemas.microsoft.com/office/drawing/2014/main" id="{B37CA902-D942-2860-E8EB-0B43488059C1}"/>
              </a:ext>
            </a:extLst>
          </p:cNvPr>
          <p:cNvSpPr txBox="1"/>
          <p:nvPr/>
        </p:nvSpPr>
        <p:spPr>
          <a:xfrm>
            <a:off x="2039934" y="2562198"/>
            <a:ext cx="99504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35">
              <a:defRPr/>
            </a:pPr>
            <a:r>
              <a:rPr lang="fr-FR" sz="4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Est-ce que tu as une gomme ?</a:t>
            </a:r>
            <a:endParaRPr lang="fr-FR" sz="4400" b="1" dirty="0">
              <a:solidFill>
                <a:prstClr val="black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7876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1FE2A-88CA-7D9C-39C6-3242DBB85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95E5BF9-86B5-61D2-D07E-4D50B18D9EC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8D63194-220F-D1AB-2F94-6954CF9700B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des crayons de couleur ? Montre-les-moi !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2F60DF1-09E0-9579-3746-379DAE981BC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43C5B431-BC40-42FF-89C6-129C18C43CF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0156790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5">
            <a:extLst>
              <a:ext uri="{FF2B5EF4-FFF2-40B4-BE49-F238E27FC236}">
                <a16:creationId xmlns:a16="http://schemas.microsoft.com/office/drawing/2014/main" id="{29360673-0285-4856-4AB0-7F730B9C682A}"/>
              </a:ext>
            </a:extLst>
          </p:cNvPr>
          <p:cNvSpPr txBox="1"/>
          <p:nvPr/>
        </p:nvSpPr>
        <p:spPr>
          <a:xfrm>
            <a:off x="2039934" y="2562198"/>
            <a:ext cx="99504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35">
              <a:defRPr/>
            </a:pPr>
            <a:r>
              <a:rPr lang="fr-FR" sz="4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Est-ce que tu as des crayons de couleur ?</a:t>
            </a:r>
            <a:endParaRPr lang="fr-FR" sz="4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5" name="Image 4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BDD85B8E-5D2C-3EF2-CE2A-02DBDE99DDC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556" y="4757736"/>
            <a:ext cx="2450887" cy="2671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080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49410-FE2D-5996-EFC7-4FAB1378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37212E94-174D-716D-FB09-36D50C65307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11B6002-8D85-D93B-88D2-8E88E0CCA68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st-ce que tu as des ciseaux ? Montre-les-moi !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97D3D52-0B44-FA6A-D05E-8773F7FD319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657FF7A0-114D-2819-F65E-3C949C592AC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50942191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5">
            <a:extLst>
              <a:ext uri="{FF2B5EF4-FFF2-40B4-BE49-F238E27FC236}">
                <a16:creationId xmlns:a16="http://schemas.microsoft.com/office/drawing/2014/main" id="{4C916E47-5D23-9B63-CD6D-75524CCE130D}"/>
              </a:ext>
            </a:extLst>
          </p:cNvPr>
          <p:cNvSpPr txBox="1"/>
          <p:nvPr/>
        </p:nvSpPr>
        <p:spPr>
          <a:xfrm>
            <a:off x="2039934" y="2562198"/>
            <a:ext cx="99504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35">
              <a:defRPr/>
            </a:pPr>
            <a:r>
              <a:rPr lang="fr-FR" sz="4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Est-ce que tu as des ciseaux ?</a:t>
            </a:r>
            <a:endParaRPr lang="fr-FR" sz="4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043165F-09C6-CEF0-27B4-92143D31FEC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125" y="4702820"/>
            <a:ext cx="2457750" cy="302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2540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55534" y="2857500"/>
            <a:ext cx="10274028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L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4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71E22-8F9A-99F9-518F-BF9891749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A5DA7EF-63AC-455E-AF22-3F0A7C03F49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5B2BBF4F-ECAE-0051-7CC5-F246A7D1D0B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40134A9C-0C53-3CFB-98C3-75F3443CB88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B3F068D-EB28-6E19-DE39-B81B074C562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86A7AE6-CFBD-52E4-FE0D-695C0FE09B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8264417A-1DBC-24FA-F550-4F52B652A2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1187D41-CEB4-FE60-D27D-67CD94D53ED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68302FA-EA3C-CC57-86C4-4E4192540CA6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7094289-0B76-5D08-BC20-FD91748D7695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847A8638-511D-1F82-7DC7-FB2708ADC9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EB510D-D548-CD0A-31A2-90CB273B8D6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480252" y="5243004"/>
            <a:ext cx="504425" cy="5490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41416F-0152-9049-C271-97F444E3127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5263053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Lire des syllabes et des mots contenants la lettre m.  </a:t>
            </a:r>
          </a:p>
        </p:txBody>
      </p:sp>
    </p:spTree>
    <p:extLst>
      <p:ext uri="{BB962C8B-B14F-4D97-AF65-F5344CB8AC3E}">
        <p14:creationId xmlns:p14="http://schemas.microsoft.com/office/powerpoint/2010/main" val="27946757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CF0CED95-0603-3709-3170-C0FFF228C7F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0367" y="69328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75C387-D836-D3E9-8DBD-CD7E6F8775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38002" y="605083"/>
            <a:ext cx="115293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m. Elle fait le son « m 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épétez après moi « 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F74119A1-AFFB-D68B-C618-B9FF072CF5B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1611381"/>
              </p:ext>
            </p:ext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AEF6EAB0-6874-1655-A805-F903F7D8929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B2EFC9C-8BB3-ACA7-EAF6-50CA67AFE312}"/>
              </a:ext>
            </a:extLst>
          </p:cNvPr>
          <p:cNvSpPr txBox="1"/>
          <p:nvPr/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m</a:t>
            </a:r>
            <a:endParaRPr lang="fr-MA" sz="28700" b="1" dirty="0">
              <a:solidFill>
                <a:srgbClr val="106584"/>
              </a:solidFill>
              <a:latin typeface="KG Primary Penmanship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87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E973D1F5-16AF-5B40-20DB-C4C06D241AFF}"/>
              </a:ext>
            </a:extLst>
          </p:cNvPr>
          <p:cNvSpPr txBox="1"/>
          <p:nvPr/>
        </p:nvSpPr>
        <p:spPr>
          <a:xfrm>
            <a:off x="1282225" y="771804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m et la lettre a.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41C63EDA-5ED3-A14E-A991-308F54BCB179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68B94F7-7DA3-20E0-1141-41F1ADFCA1DF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   a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532C512C-4EC7-7EA7-8A2E-62C2328CC61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421956"/>
              </p:ext>
            </p:ext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AC6C0BFC-3DBB-58B5-F60B-D97D3CAC48B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516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B55E2-D01A-643A-D4DD-0340A736C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0F45B58D-608C-6D36-FD05-595DE76D6065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m est à côté de la lettre a, ça fait le son « ma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m – a – ma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763FD363-80E2-BEF2-1BB9-8C1BBE534BF0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AFFF624-5088-834A-7FDD-65A13C353E32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a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877094CD-97D8-2CE1-3E08-B647AF46915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684CEDB9-8BF1-D8C7-6242-8732AD562A7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740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2C31F2-312E-0B7C-A63D-214D349AA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20BAFFF-DB9F-30AC-8F8F-2B2E74A1AD4C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m est à côté de la lettre i, ça fait le son « mi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m – i – mi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6C9999DE-3B49-4739-1DF6-C886E19628D9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D81EE34-6128-DD4E-EB97-B180852753C5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7535BFBE-792D-5706-510F-40450AF1D7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05392252-E6C6-0F74-75D6-88436E23BC1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042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4C609D-BD75-F04D-2CD6-4C9502BF5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0ED775EA-1ACD-3C11-4D89-E2AF5F29C184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 à côté de la lettre o, ça fait le son « mo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m – o – mo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8EA222B6-9E27-49EB-88CE-BE830510B32B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2C8581C-444F-D367-C766-6F1D1E6B497F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o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59405340-3E11-43B6-4AE2-9B8771D4207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EA0A27E4-7366-E581-01F5-023E4E1D29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7108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9B2D5-0543-3D68-57D0-57D650FD51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47128F67-E820-4166-49AD-997420CDB760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 à côté de la lettre u, ça fait le son « mu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u – mu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D4D10AAB-500C-FED9-3646-F581A7CA3A8A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9234B25-C65A-1BA5-10AB-04A6BE0BD364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u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D21F4657-9905-DDDC-0BCC-94DCC2B204D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4436CC27-DDB2-2526-4E8B-D61448154E4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11542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BD868-14AD-ECCC-FF4A-83BD2F6DF3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EEE7C4A-36E2-96AA-BE21-CBC39B2FB629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m est à côté de la lettre e, ça fait le son « me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m –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me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F33C281A-8D2B-2742-B016-37390705B800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C6848DE-8BF8-43C4-77BC-B1F9DA832548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e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5FF2E882-2C42-DF0D-0605-8A77B132F2A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8590A61A-FD94-9FE0-3FC9-EFCA425FAAD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0929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5E81A-4932-AE7F-0A8E-29FE7A9505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480E400-B179-1E38-54E9-92723F74442C}"/>
              </a:ext>
            </a:extLst>
          </p:cNvPr>
          <p:cNvSpPr txBox="1"/>
          <p:nvPr/>
        </p:nvSpPr>
        <p:spPr>
          <a:xfrm>
            <a:off x="1282225" y="771804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a et la lettre m.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E8F1FCD8-22FC-7FDA-1A2E-D11EB38ADEA8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C91B49E2-DE5F-3EF9-F871-5EF1DBD78652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a   m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2F94CD7A-BB12-DF7A-F034-69C8802934B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E7BB4B1F-2A19-CD33-E2DF-5CB311D2EED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9485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90537-F74A-5EBF-4989-AF636B74DE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3806E247-D447-FF1D-3D16-11C557BC4ED3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a est à côté de la lettre m, ça fait le son « </a:t>
            </a:r>
            <a:r>
              <a:rPr lang="fr-FR" sz="2400" b="1" dirty="0" err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a – m – </a:t>
            </a:r>
            <a:r>
              <a:rPr lang="fr-FR" sz="2400" b="1" dirty="0" err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A9EC1D88-54CE-80B3-34A8-CAC18AEDF3CF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5B088E5-5FA9-F060-545A-1956FBD7ED71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 err="1">
                <a:solidFill>
                  <a:srgbClr val="106584"/>
                </a:solidFill>
                <a:latin typeface="KG Primary Penmanship Alt" panose="02000506000000020003" pitchFamily="2" charset="0"/>
              </a:rPr>
              <a:t>am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05811F5-ABCF-CEEC-4C69-09DA901BF56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A4D24B01-14AB-F5AD-497A-C7D5EAD9DD1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899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899BF-9800-DCA5-D515-C7DC450DB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D0E13082-A5F3-CA4E-F6A8-B02CB51F856A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i est à côté de la lettre m, ça fait le son « 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i – m –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E510EE7E-A45A-224B-EB91-6564ED61FE22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A70C2B9-F6BA-066F-3041-3BE0D6A744C2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 err="1">
                <a:solidFill>
                  <a:srgbClr val="106584"/>
                </a:solidFill>
                <a:latin typeface="KG Primary Penmanship Alt" panose="02000506000000020003" pitchFamily="2" charset="0"/>
              </a:rPr>
              <a:t>im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5498C491-6AA4-1125-D338-D0BE91F882F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17E49EE7-A5F5-8C12-9F01-4D6E8FB2D6D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00319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AB430-A020-6A14-84DC-AFF50A4F8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63DC1F8-59FC-148D-9B78-DA1FA2146978}"/>
              </a:ext>
            </a:extLst>
          </p:cNvPr>
          <p:cNvSpPr txBox="1"/>
          <p:nvPr/>
        </p:nvSpPr>
        <p:spPr>
          <a:xfrm>
            <a:off x="1282225" y="671788"/>
            <a:ext cx="116176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d la lettre o est à côté de la lettre m, ça fait le son « om »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ensemble :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m – om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7C9368AC-EDA1-6BA1-B805-25ADB03FE726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A1A1713-6B7A-1A82-A2D6-5B2E84E7DDBB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om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7C080A72-9B00-8506-1931-EECED22CAF7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53700C5D-CA06-B87B-2B79-91484CD9A4B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358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48B93-AC0C-84E4-78E7-A041A034E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0C52F056-9A81-409E-5036-CDC16C08DFBA}"/>
              </a:ext>
            </a:extLst>
          </p:cNvPr>
          <p:cNvSpPr txBox="1"/>
          <p:nvPr/>
        </p:nvSpPr>
        <p:spPr>
          <a:xfrm>
            <a:off x="1420063" y="746208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étons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emble.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ECB888C5-AE43-CFC7-E12B-6B60B6168D89}"/>
              </a:ext>
            </a:extLst>
          </p:cNvPr>
          <p:cNvSpPr/>
          <p:nvPr/>
        </p:nvSpPr>
        <p:spPr>
          <a:xfrm rot="10800000" flipH="1">
            <a:off x="678313" y="8377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110D9E6-4A70-FC39-E782-DF2289D0814F}"/>
              </a:ext>
            </a:extLst>
          </p:cNvPr>
          <p:cNvSpPr txBox="1"/>
          <p:nvPr/>
        </p:nvSpPr>
        <p:spPr>
          <a:xfrm>
            <a:off x="371474" y="3135258"/>
            <a:ext cx="12973049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125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e  mu  ma  mi  mo</a:t>
            </a:r>
          </a:p>
          <a:p>
            <a:pPr algn="ctr">
              <a:spcAft>
                <a:spcPts val="600"/>
              </a:spcAft>
              <a:defRPr/>
            </a:pPr>
            <a:r>
              <a:rPr lang="fr-FR" sz="125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om  </a:t>
            </a:r>
            <a:r>
              <a:rPr lang="fr-FR" sz="12500" b="1" dirty="0" err="1">
                <a:solidFill>
                  <a:srgbClr val="106584"/>
                </a:solidFill>
                <a:latin typeface="KG Primary Penmanship Alt" panose="02000506000000020003" pitchFamily="2" charset="0"/>
              </a:rPr>
              <a:t>im</a:t>
            </a:r>
            <a:r>
              <a:rPr lang="fr-FR" sz="125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  </a:t>
            </a:r>
            <a:r>
              <a:rPr lang="fr-FR" sz="12500" b="1" dirty="0" err="1">
                <a:solidFill>
                  <a:srgbClr val="106584"/>
                </a:solidFill>
                <a:latin typeface="KG Primary Penmanship Alt" panose="02000506000000020003" pitchFamily="2" charset="0"/>
              </a:rPr>
              <a:t>am</a:t>
            </a:r>
            <a:r>
              <a:rPr lang="fr-FR" sz="125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  um</a:t>
            </a:r>
            <a:endParaRPr lang="fr-MA" sz="125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AA12175F-EB4C-5EBC-76E5-DA1D74376C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22F37D2C-3300-3A49-AAEA-61B50740494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07440" y="565575"/>
            <a:ext cx="1530246" cy="128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617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8D74EF6A-815A-2114-126E-2911C0B62AE8}"/>
              </a:ext>
            </a:extLst>
          </p:cNvPr>
          <p:cNvSpPr txBox="1"/>
          <p:nvPr/>
        </p:nvSpPr>
        <p:spPr>
          <a:xfrm>
            <a:off x="1228725" y="658147"/>
            <a:ext cx="12311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Maintenant, n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u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allons apprendre à lire des mots ensembl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Nous lisons les lettres de gauche à droite.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0AC5B7CB-D60B-64A4-912A-02FF2C6D5E95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Freeform 15">
            <a:extLst>
              <a:ext uri="{FF2B5EF4-FFF2-40B4-BE49-F238E27FC236}">
                <a16:creationId xmlns:a16="http://schemas.microsoft.com/office/drawing/2014/main" id="{0431B6AA-9E69-651D-93C2-8EA28001B1A3}"/>
              </a:ext>
            </a:extLst>
          </p:cNvPr>
          <p:cNvSpPr/>
          <p:nvPr/>
        </p:nvSpPr>
        <p:spPr>
          <a:xfrm>
            <a:off x="4666686" y="7086600"/>
            <a:ext cx="4382626" cy="901818"/>
          </a:xfrm>
          <a:custGeom>
            <a:avLst/>
            <a:gdLst/>
            <a:ahLst/>
            <a:cxnLst/>
            <a:rect l="l" t="t" r="r" b="b"/>
            <a:pathLst>
              <a:path w="1665242" h="455860">
                <a:moveTo>
                  <a:pt x="0" y="0"/>
                </a:moveTo>
                <a:lnTo>
                  <a:pt x="1665242" y="0"/>
                </a:lnTo>
                <a:lnTo>
                  <a:pt x="1665242" y="455859"/>
                </a:lnTo>
                <a:lnTo>
                  <a:pt x="0" y="455859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MA" sz="135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CE768EB-3179-67BF-FB74-C4B4D1C18F6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D31F5A2-CF11-8048-F56A-2BD733D42671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i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2CF39203-E43D-BE52-975D-7C1FA2C34F7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63795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72527-072B-B62F-CFCF-64D4B053A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6B9C6474-3C98-2E6B-6949-442F1C81D377}"/>
              </a:ext>
            </a:extLst>
          </p:cNvPr>
          <p:cNvSpPr txBox="1"/>
          <p:nvPr/>
        </p:nvSpPr>
        <p:spPr>
          <a:xfrm>
            <a:off x="1228725" y="729587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coutez comment je fais : m/i  mi - m/i  mi. Mimi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0CABAB93-E9A1-8BBC-6125-878A1BE17661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96B053E-C39D-C0AD-76A6-901D7227750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6F5735CD-111E-C547-14E3-83CA5505019F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i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F14BC6C6-BAF4-FC33-5A1E-48259C46C5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Parenthèse ouvrante 2">
            <a:extLst>
              <a:ext uri="{FF2B5EF4-FFF2-40B4-BE49-F238E27FC236}">
                <a16:creationId xmlns:a16="http://schemas.microsoft.com/office/drawing/2014/main" id="{10C03E24-5780-B41A-0B0C-3DFEDEB466FA}"/>
              </a:ext>
            </a:extLst>
          </p:cNvPr>
          <p:cNvSpPr/>
          <p:nvPr/>
        </p:nvSpPr>
        <p:spPr>
          <a:xfrm rot="16200000">
            <a:off x="5223572" y="5220587"/>
            <a:ext cx="425642" cy="2728909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A9F4DFD6-6D58-E159-DD0C-A84417AC1FBD}"/>
              </a:ext>
            </a:extLst>
          </p:cNvPr>
          <p:cNvSpPr/>
          <p:nvPr/>
        </p:nvSpPr>
        <p:spPr>
          <a:xfrm rot="16200000">
            <a:off x="8166800" y="5220586"/>
            <a:ext cx="425639" cy="2728910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258606404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E44AF3-34E5-1F7C-34EE-6824D834D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846D2AAC-6174-8ACC-E058-14034EF1410D}"/>
              </a:ext>
            </a:extLst>
          </p:cNvPr>
          <p:cNvSpPr txBox="1"/>
          <p:nvPr/>
        </p:nvSpPr>
        <p:spPr>
          <a:xfrm>
            <a:off x="1404569" y="732794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lisons ensemble : mimi.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61EABC65-AE3B-3EC7-D6A6-176406351BFC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3614B49B-5980-7400-EBDB-4CB9A1EDEDA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774BBF4B-7781-7985-C0DF-2E45A8F1B05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72244" y="572419"/>
            <a:ext cx="1747521" cy="1466991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42B919D7-6520-74BB-D807-77924F57EC60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i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sp>
        <p:nvSpPr>
          <p:cNvPr id="10" name="Parenthèse ouvrante 9">
            <a:extLst>
              <a:ext uri="{FF2B5EF4-FFF2-40B4-BE49-F238E27FC236}">
                <a16:creationId xmlns:a16="http://schemas.microsoft.com/office/drawing/2014/main" id="{B59E1A8C-336F-7720-A2F0-D594F814D230}"/>
              </a:ext>
            </a:extLst>
          </p:cNvPr>
          <p:cNvSpPr/>
          <p:nvPr/>
        </p:nvSpPr>
        <p:spPr>
          <a:xfrm rot="16200000">
            <a:off x="5223572" y="5220587"/>
            <a:ext cx="425642" cy="2728909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1" name="Parenthèse ouvrante 10">
            <a:extLst>
              <a:ext uri="{FF2B5EF4-FFF2-40B4-BE49-F238E27FC236}">
                <a16:creationId xmlns:a16="http://schemas.microsoft.com/office/drawing/2014/main" id="{45E20540-45E9-5C17-776C-CFB0E207B561}"/>
              </a:ext>
            </a:extLst>
          </p:cNvPr>
          <p:cNvSpPr/>
          <p:nvPr/>
        </p:nvSpPr>
        <p:spPr>
          <a:xfrm rot="16200000">
            <a:off x="8166800" y="5220586"/>
            <a:ext cx="425639" cy="2728910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257997081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981DA-8A4B-8B6A-F026-5DF781BDC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2CC39F69-82E7-91B6-D94D-183438CF6E66}"/>
              </a:ext>
            </a:extLst>
          </p:cNvPr>
          <p:cNvSpPr txBox="1"/>
          <p:nvPr/>
        </p:nvSpPr>
        <p:spPr>
          <a:xfrm>
            <a:off x="1228725" y="729587"/>
            <a:ext cx="10029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 – m/i  mi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. Ami.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D453853D-2C79-AA56-CADC-3060ADD6C9AE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E9F2C7D-4F19-B3BE-06B5-EB07294B543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92A8307E-34FF-D1D0-2115-88E051A81AF7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a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14B3221F-C911-D0B7-2B66-D3D54F62AC9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Parenthèse ouvrante 2">
            <a:extLst>
              <a:ext uri="{FF2B5EF4-FFF2-40B4-BE49-F238E27FC236}">
                <a16:creationId xmlns:a16="http://schemas.microsoft.com/office/drawing/2014/main" id="{C83313C0-02CC-6305-639B-89894FE70798}"/>
              </a:ext>
            </a:extLst>
          </p:cNvPr>
          <p:cNvSpPr/>
          <p:nvPr/>
        </p:nvSpPr>
        <p:spPr>
          <a:xfrm rot="16200000">
            <a:off x="5287870" y="5956387"/>
            <a:ext cx="425643" cy="125730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0B8AA5E7-20D5-9BDE-6808-EED7E5113D92}"/>
              </a:ext>
            </a:extLst>
          </p:cNvPr>
          <p:cNvSpPr/>
          <p:nvPr/>
        </p:nvSpPr>
        <p:spPr>
          <a:xfrm rot="16200000">
            <a:off x="7480999" y="5234869"/>
            <a:ext cx="425647" cy="2700339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40547799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A08DC9-FF27-FE42-241A-2A8EC143B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E3F5C2E1-D83D-B13A-95C0-65D15175B760}"/>
              </a:ext>
            </a:extLst>
          </p:cNvPr>
          <p:cNvSpPr txBox="1"/>
          <p:nvPr/>
        </p:nvSpPr>
        <p:spPr>
          <a:xfrm>
            <a:off x="1228725" y="729587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lisons ensemble : ami.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B13491A1-BD90-3566-462C-7763B9A99909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059FBE6E-2878-EDD8-0779-02F62AC0DE2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97964877-3003-77BE-7CCB-AD3ED52C278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72244" y="572419"/>
            <a:ext cx="1747521" cy="1466991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341D120B-F861-AF8C-9A80-7FA5A5076F2A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am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sp>
        <p:nvSpPr>
          <p:cNvPr id="10" name="Parenthèse ouvrante 9">
            <a:extLst>
              <a:ext uri="{FF2B5EF4-FFF2-40B4-BE49-F238E27FC236}">
                <a16:creationId xmlns:a16="http://schemas.microsoft.com/office/drawing/2014/main" id="{3C76F777-DC86-F30C-2D80-53CA92360401}"/>
              </a:ext>
            </a:extLst>
          </p:cNvPr>
          <p:cNvSpPr/>
          <p:nvPr/>
        </p:nvSpPr>
        <p:spPr>
          <a:xfrm rot="16200000">
            <a:off x="5287870" y="5956387"/>
            <a:ext cx="425643" cy="125730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1" name="Parenthèse ouvrante 10">
            <a:extLst>
              <a:ext uri="{FF2B5EF4-FFF2-40B4-BE49-F238E27FC236}">
                <a16:creationId xmlns:a16="http://schemas.microsoft.com/office/drawing/2014/main" id="{92F59DAC-BD90-AE4D-B024-FC979024C836}"/>
              </a:ext>
            </a:extLst>
          </p:cNvPr>
          <p:cNvSpPr/>
          <p:nvPr/>
        </p:nvSpPr>
        <p:spPr>
          <a:xfrm rot="16200000">
            <a:off x="7480999" y="5234869"/>
            <a:ext cx="425647" cy="2700339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348627237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F0EB9-9B4E-E90C-2870-A562F72B2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C462A685-7CFE-95EC-F073-0BCF886A6B08}"/>
              </a:ext>
            </a:extLst>
          </p:cNvPr>
          <p:cNvSpPr txBox="1"/>
          <p:nvPr/>
        </p:nvSpPr>
        <p:spPr>
          <a:xfrm>
            <a:off x="1228725" y="729587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lire ce mot ?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159E7C18-7CD3-B434-1475-0F271DD92A0A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FBA8F9AE-33AC-F5A9-5410-0EA98C0E6BF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0F78847-7360-68A6-9A24-A03CFE242C9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1295283" y="65654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C5CE73B9-8B88-7397-6511-F63CCD62BC3F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 err="1">
                <a:solidFill>
                  <a:srgbClr val="106584"/>
                </a:solidFill>
                <a:latin typeface="KG Primary Penmanship Alt" panose="02000506000000020003" pitchFamily="2" charset="0"/>
              </a:rPr>
              <a:t>amal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sp>
        <p:nvSpPr>
          <p:cNvPr id="13" name="Parenthèse ouvrante 12">
            <a:extLst>
              <a:ext uri="{FF2B5EF4-FFF2-40B4-BE49-F238E27FC236}">
                <a16:creationId xmlns:a16="http://schemas.microsoft.com/office/drawing/2014/main" id="{E41777ED-885B-6C95-C7BB-EFAD1E71F1EE}"/>
              </a:ext>
            </a:extLst>
          </p:cNvPr>
          <p:cNvSpPr/>
          <p:nvPr/>
        </p:nvSpPr>
        <p:spPr>
          <a:xfrm rot="16200000">
            <a:off x="4444902" y="5956387"/>
            <a:ext cx="425643" cy="125730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4" name="Parenthèse ouvrante 13">
            <a:extLst>
              <a:ext uri="{FF2B5EF4-FFF2-40B4-BE49-F238E27FC236}">
                <a16:creationId xmlns:a16="http://schemas.microsoft.com/office/drawing/2014/main" id="{652A712D-475D-C39E-900A-5CB1DE3E63B2}"/>
              </a:ext>
            </a:extLst>
          </p:cNvPr>
          <p:cNvSpPr/>
          <p:nvPr/>
        </p:nvSpPr>
        <p:spPr>
          <a:xfrm rot="16200000">
            <a:off x="7466710" y="4449055"/>
            <a:ext cx="425646" cy="4271965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12414785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799E13-5AE2-0FC5-7D51-5517A7C26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8">
            <a:extLst>
              <a:ext uri="{FF2B5EF4-FFF2-40B4-BE49-F238E27FC236}">
                <a16:creationId xmlns:a16="http://schemas.microsoft.com/office/drawing/2014/main" id="{15A8D828-79BE-86C5-7A9A-C7253EA30F69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F4BEF2E-A368-399D-43C0-7F14AF3B38A9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mali</a:t>
            </a:r>
            <a:endParaRPr lang="fr-MA" sz="28700" b="1" dirty="0">
              <a:solidFill>
                <a:srgbClr val="106584"/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0979ADC8-EFF4-A4BC-C9E9-A4B16981601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Parenthèse ouvrante 2">
            <a:extLst>
              <a:ext uri="{FF2B5EF4-FFF2-40B4-BE49-F238E27FC236}">
                <a16:creationId xmlns:a16="http://schemas.microsoft.com/office/drawing/2014/main" id="{CB88CF28-4C55-337A-AC69-9FF333FD8104}"/>
              </a:ext>
            </a:extLst>
          </p:cNvPr>
          <p:cNvSpPr/>
          <p:nvPr/>
        </p:nvSpPr>
        <p:spPr>
          <a:xfrm rot="16200000">
            <a:off x="6059388" y="4770522"/>
            <a:ext cx="425652" cy="3629022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722DCB71-D87D-7965-8E1C-819DBE6A15F3}"/>
              </a:ext>
            </a:extLst>
          </p:cNvPr>
          <p:cNvSpPr/>
          <p:nvPr/>
        </p:nvSpPr>
        <p:spPr>
          <a:xfrm rot="16200000">
            <a:off x="8666857" y="5949243"/>
            <a:ext cx="425650" cy="1271587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882829F-96D8-3A91-2160-93113747623B}"/>
              </a:ext>
            </a:extLst>
          </p:cNvPr>
          <p:cNvSpPr txBox="1"/>
          <p:nvPr/>
        </p:nvSpPr>
        <p:spPr>
          <a:xfrm>
            <a:off x="1228725" y="729587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lire ce mot ?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F56A97D-E69E-66F5-6563-E4A85C7D18B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1295283" y="656546"/>
            <a:ext cx="1849217" cy="1142676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11920856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51E85-F3F1-879B-5E74-E62FA6702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>
            <a:extLst>
              <a:ext uri="{FF2B5EF4-FFF2-40B4-BE49-F238E27FC236}">
                <a16:creationId xmlns:a16="http://schemas.microsoft.com/office/drawing/2014/main" id="{84821E07-FEFA-BB83-B9A2-C95B6F57D61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82046F-F371-484D-E5E9-BADB03D10D2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3E2339D-FEF1-EA74-BCA2-706C59C05EB2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1716DB8-7530-15CE-C3DC-9D710A646D2D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B7F8579-4DF1-C9BE-8FEE-D8425F7EEC6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D906CDE3-D832-DE46-D2DC-95190A9461CF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C885320-532D-6BA0-F20D-FA9C41B0C27D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Freeform 8">
            <a:extLst>
              <a:ext uri="{FF2B5EF4-FFF2-40B4-BE49-F238E27FC236}">
                <a16:creationId xmlns:a16="http://schemas.microsoft.com/office/drawing/2014/main" id="{35159AF3-CE79-AA51-0D5D-0A6C8144BC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803786" y="76456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5FEA46E-579E-F360-5BDE-256B723E4C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51841" y="699962"/>
            <a:ext cx="80362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4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t « mamie ». Je ne prononce pas la lettre en gris. 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397D7FE-4DF6-D85D-A200-E1BDB54FF0D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89629"/>
            <a:ext cx="1446339" cy="14426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F8E5E32C-5CE8-5289-2DD3-14E33DA8CB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3542606"/>
            <a:ext cx="13016058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mami</a:t>
            </a:r>
            <a:r>
              <a:rPr kumimoji="0" lang="pt-BR" sz="225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</a:t>
            </a:r>
            <a:endParaRPr kumimoji="0" lang="fr-MA" sz="22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4134E44C-DA83-9C4E-46B3-5BE2A058771E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Parenthèse ouvrante 5">
            <a:extLst>
              <a:ext uri="{FF2B5EF4-FFF2-40B4-BE49-F238E27FC236}">
                <a16:creationId xmlns:a16="http://schemas.microsoft.com/office/drawing/2014/main" id="{B629B391-79E9-316C-59B1-A22C34FDB2A4}"/>
              </a:ext>
            </a:extLst>
          </p:cNvPr>
          <p:cNvSpPr/>
          <p:nvPr/>
        </p:nvSpPr>
        <p:spPr>
          <a:xfrm rot="16200000">
            <a:off x="4423470" y="5144940"/>
            <a:ext cx="425652" cy="3443285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2" name="Parenthèse ouvrante 11">
            <a:extLst>
              <a:ext uri="{FF2B5EF4-FFF2-40B4-BE49-F238E27FC236}">
                <a16:creationId xmlns:a16="http://schemas.microsoft.com/office/drawing/2014/main" id="{A89B3DAC-F6F3-449A-331E-2D20D012527D}"/>
              </a:ext>
            </a:extLst>
          </p:cNvPr>
          <p:cNvSpPr/>
          <p:nvPr/>
        </p:nvSpPr>
        <p:spPr>
          <a:xfrm rot="16200000">
            <a:off x="7831660" y="5522940"/>
            <a:ext cx="425654" cy="2687290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88200843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4C06E-7F32-AFF2-A4F1-2B138EC42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8">
            <a:extLst>
              <a:ext uri="{FF2B5EF4-FFF2-40B4-BE49-F238E27FC236}">
                <a16:creationId xmlns:a16="http://schemas.microsoft.com/office/drawing/2014/main" id="{DF2BFD56-A1F4-17F3-9BB5-0A216741D6DB}"/>
              </a:ext>
            </a:extLst>
          </p:cNvPr>
          <p:cNvSpPr/>
          <p:nvPr/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47AF9D4-0C74-E680-669C-4C4957290796}"/>
              </a:ext>
            </a:extLst>
          </p:cNvPr>
          <p:cNvSpPr txBox="1"/>
          <p:nvPr/>
        </p:nvSpPr>
        <p:spPr>
          <a:xfrm>
            <a:off x="371475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Alt" panose="02000506000000020003" pitchFamily="2" charset="0"/>
              </a:rPr>
              <a:t>ami</a:t>
            </a:r>
            <a:r>
              <a:rPr lang="fr-FR" sz="28700" b="1" dirty="0">
                <a:solidFill>
                  <a:schemeClr val="bg1">
                    <a:lumMod val="65000"/>
                  </a:schemeClr>
                </a:solidFill>
                <a:latin typeface="KG Primary Penmanship Alt" panose="02000506000000020003" pitchFamily="2" charset="0"/>
              </a:rPr>
              <a:t>e</a:t>
            </a:r>
            <a:endParaRPr lang="fr-MA" sz="28700" b="1" dirty="0">
              <a:solidFill>
                <a:schemeClr val="bg1">
                  <a:lumMod val="65000"/>
                </a:schemeClr>
              </a:solidFill>
              <a:latin typeface="KG Primary Penmanship Alt" panose="02000506000000020003" pitchFamily="2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CFC3DD8A-3363-7FD2-B0A9-18E2B318BBE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28576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Parenthèse ouvrante 2">
            <a:extLst>
              <a:ext uri="{FF2B5EF4-FFF2-40B4-BE49-F238E27FC236}">
                <a16:creationId xmlns:a16="http://schemas.microsoft.com/office/drawing/2014/main" id="{DA5EB071-C2FF-479A-EE77-6D9A295298BD}"/>
              </a:ext>
            </a:extLst>
          </p:cNvPr>
          <p:cNvSpPr/>
          <p:nvPr/>
        </p:nvSpPr>
        <p:spPr>
          <a:xfrm rot="16200000">
            <a:off x="4516340" y="5984957"/>
            <a:ext cx="425647" cy="1200158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1F6774E0-59EA-B6C2-BDDC-6DC2BBA6E80A}"/>
              </a:ext>
            </a:extLst>
          </p:cNvPr>
          <p:cNvSpPr/>
          <p:nvPr/>
        </p:nvSpPr>
        <p:spPr>
          <a:xfrm rot="16200000">
            <a:off x="6723753" y="5192008"/>
            <a:ext cx="425650" cy="2786058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9110ABC-5CE0-5A7E-0D20-AC9BB96A7833}"/>
              </a:ext>
            </a:extLst>
          </p:cNvPr>
          <p:cNvSpPr txBox="1"/>
          <p:nvPr/>
        </p:nvSpPr>
        <p:spPr>
          <a:xfrm>
            <a:off x="1228725" y="729587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lire ce mot ? 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E929550-F3E5-D2B9-070A-CFBC50F37E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1295283" y="656546"/>
            <a:ext cx="1849217" cy="1142676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268180698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10287E18-69C6-3B4D-8BE6-A6CB0BC14EE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1092330"/>
            <a:ext cx="109459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ils lisent, de l’écran projeté, les syllabes et les mots affichés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EFC210-46FE-D869-3D1E-48869A0E7D3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FBD81DAC-D87E-86B9-1E52-43A3D9317D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7058C-8E98-495E-88ED-9BBCBD96F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2FBEFB96-FB05-04C1-6C90-1C75C3BC636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Freeform 8">
            <a:extLst>
              <a:ext uri="{FF2B5EF4-FFF2-40B4-BE49-F238E27FC236}">
                <a16:creationId xmlns:a16="http://schemas.microsoft.com/office/drawing/2014/main" id="{2CDE8A98-23DB-5BB4-E159-A36095AA01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368" y="765843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EE6ABE2-07A0-C90F-A88D-835E1444A59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2882" y="699821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llez à la page 28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3590302-56A5-372A-B1CD-E85440DC93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7278" y="1674697"/>
            <a:ext cx="5701442" cy="806938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E39246C-B3F7-0A93-D3A6-5226BEF0194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07279" y="5857866"/>
            <a:ext cx="5701442" cy="27544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05662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C3E04-281C-266E-28DD-AAD462C88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F5F03F8E-BED3-FEB5-A31A-97A836498901}"/>
              </a:ext>
            </a:extLst>
          </p:cNvPr>
          <p:cNvSpPr/>
          <p:nvPr/>
        </p:nvSpPr>
        <p:spPr>
          <a:xfrm>
            <a:off x="728662" y="80198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25862F3-1BD0-BC76-44F3-179172B6C79E}"/>
              </a:ext>
            </a:extLst>
          </p:cNvPr>
          <p:cNvSpPr txBox="1"/>
          <p:nvPr/>
        </p:nvSpPr>
        <p:spPr>
          <a:xfrm>
            <a:off x="1411357" y="653362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4. Je vais former des syllabes. Répétez après moi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m/a ma – m/o mo – m/u mu – …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837F63C-42D2-8D91-4AE0-406A85E6FB3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CE5CB70E-92DD-D381-93CE-2014A46E71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37987" y="647490"/>
            <a:ext cx="1492309" cy="125274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CF06D24-6231-668B-F67E-4DF5F608FF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866" y="2823033"/>
            <a:ext cx="11852267" cy="562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94664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C096E7-F47A-4738-A2F7-8CC03751F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58D9DB80-58A8-F02A-7EE1-1EA4AC42ABAD}"/>
              </a:ext>
            </a:extLst>
          </p:cNvPr>
          <p:cNvSpPr/>
          <p:nvPr/>
        </p:nvSpPr>
        <p:spPr>
          <a:xfrm>
            <a:off x="728662" y="77341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43FD07F-E8D4-5755-DD07-E0DAAF271910}"/>
              </a:ext>
            </a:extLst>
          </p:cNvPr>
          <p:cNvSpPr txBox="1"/>
          <p:nvPr/>
        </p:nvSpPr>
        <p:spPr>
          <a:xfrm>
            <a:off x="1411357" y="610498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lisez les syllabes à votre voisin. Ensuite, échangez les rôles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pour vous aider.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3BB4BF82-7284-78D6-DB81-66CCDFFFFC4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6B3125EC-0EC8-CFE4-1128-AA0C68D9CD2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6080" y="779977"/>
            <a:ext cx="1598255" cy="118001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90F4719-A2E6-BA1D-0BFC-2DDB1B7308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866" y="2823033"/>
            <a:ext cx="11852267" cy="562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00172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6970B-275D-32BC-96DE-ABBEA83E0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B24A176D-DEDF-C6C8-BA3B-2D0C33CC0921}"/>
              </a:ext>
            </a:extLst>
          </p:cNvPr>
          <p:cNvSpPr/>
          <p:nvPr/>
        </p:nvSpPr>
        <p:spPr>
          <a:xfrm>
            <a:off x="728662" y="80198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AB6A69C-8F22-C351-2E33-9542A6D2CDF3}"/>
              </a:ext>
            </a:extLst>
          </p:cNvPr>
          <p:cNvSpPr txBox="1"/>
          <p:nvPr/>
        </p:nvSpPr>
        <p:spPr>
          <a:xfrm>
            <a:off x="1411357" y="710514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5. Je vais lire des syllabes et des mots. Répétez après moi.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F4F4FA8-789F-41C2-40DF-AD0B2287A39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3CDA0A29-8686-AAB0-E7AF-0C13D9212EF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37987" y="647490"/>
            <a:ext cx="1492309" cy="125274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DAE2A0D-8F78-2BC2-AF8F-1CA3086568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895" y="4061686"/>
            <a:ext cx="12466210" cy="228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5537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383575-7425-84E1-667E-91CD7F3FF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93947872-4278-3AEC-A5D4-8121D817B804}"/>
              </a:ext>
            </a:extLst>
          </p:cNvPr>
          <p:cNvSpPr/>
          <p:nvPr/>
        </p:nvSpPr>
        <p:spPr>
          <a:xfrm>
            <a:off x="728662" y="77341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497D8E4-272A-3499-2F2C-9DFFAF6AF3E5}"/>
              </a:ext>
            </a:extLst>
          </p:cNvPr>
          <p:cNvSpPr txBox="1"/>
          <p:nvPr/>
        </p:nvSpPr>
        <p:spPr>
          <a:xfrm>
            <a:off x="1411357" y="610498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lisez les mots à votre voisin. Ensuite, échangez les rôles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pour vous aider.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BF10F07-8693-502C-EA9F-FAA93B3348A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B02A7043-90A7-ED8D-2463-4821E9487FB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6080" y="779977"/>
            <a:ext cx="1598255" cy="118001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3697121-FF67-5A3D-5BB3-CBCEF6B5EF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895" y="4061686"/>
            <a:ext cx="12466210" cy="228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82147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/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/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algn="ctr" defTabSz="1371566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/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/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/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6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/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/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/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78</TotalTime>
  <Words>2005</Words>
  <PresentationFormat>Personnalisé</PresentationFormat>
  <Paragraphs>373</Paragraphs>
  <Slides>68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8</vt:i4>
      </vt:variant>
    </vt:vector>
  </HeadingPairs>
  <TitlesOfParts>
    <vt:vector size="85" baseType="lpstr">
      <vt:lpstr>Carelia</vt:lpstr>
      <vt:lpstr>Montserrat</vt:lpstr>
      <vt:lpstr>Dosis</vt:lpstr>
      <vt:lpstr>Helvetica Neue Light</vt:lpstr>
      <vt:lpstr>Calibri</vt:lpstr>
      <vt:lpstr>Traditional Arabic</vt:lpstr>
      <vt:lpstr>Calibri </vt:lpstr>
      <vt:lpstr>Dosis Bold</vt:lpstr>
      <vt:lpstr>Arial</vt:lpstr>
      <vt:lpstr>KG Primary Penmanship 2</vt:lpstr>
      <vt:lpstr>Cambria</vt:lpstr>
      <vt:lpstr>KG Primary Penmanship Alt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3T12:38:10Z</dcterms:modified>
</cp:coreProperties>
</file>